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</p:sldIdLst>
  <p:sldSz cx="3095625" cy="1619250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9" autoAdjust="0"/>
    <p:restoredTop sz="94660"/>
  </p:normalViewPr>
  <p:slideViewPr>
    <p:cSldViewPr snapToGrid="0">
      <p:cViewPr varScale="1">
        <p:scale>
          <a:sx n="400" d="100"/>
          <a:sy n="400" d="100"/>
        </p:scale>
        <p:origin x="672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53" y="265002"/>
            <a:ext cx="2321719" cy="563739"/>
          </a:xfrm>
        </p:spPr>
        <p:txBody>
          <a:bodyPr anchor="b"/>
          <a:lstStyle>
            <a:lvl1pPr algn="ctr">
              <a:defRPr sz="1417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953" y="850481"/>
            <a:ext cx="2321719" cy="390944"/>
          </a:xfrm>
        </p:spPr>
        <p:txBody>
          <a:bodyPr/>
          <a:lstStyle>
            <a:lvl1pPr marL="0" indent="0" algn="ctr">
              <a:buNone/>
              <a:defRPr sz="567"/>
            </a:lvl1pPr>
            <a:lvl2pPr marL="107945" indent="0" algn="ctr">
              <a:buNone/>
              <a:defRPr sz="472"/>
            </a:lvl2pPr>
            <a:lvl3pPr marL="215890" indent="0" algn="ctr">
              <a:buNone/>
              <a:defRPr sz="425"/>
            </a:lvl3pPr>
            <a:lvl4pPr marL="323835" indent="0" algn="ctr">
              <a:buNone/>
              <a:defRPr sz="378"/>
            </a:lvl4pPr>
            <a:lvl5pPr marL="431780" indent="0" algn="ctr">
              <a:buNone/>
              <a:defRPr sz="378"/>
            </a:lvl5pPr>
            <a:lvl6pPr marL="539725" indent="0" algn="ctr">
              <a:buNone/>
              <a:defRPr sz="378"/>
            </a:lvl6pPr>
            <a:lvl7pPr marL="647670" indent="0" algn="ctr">
              <a:buNone/>
              <a:defRPr sz="378"/>
            </a:lvl7pPr>
            <a:lvl8pPr marL="755614" indent="0" algn="ctr">
              <a:buNone/>
              <a:defRPr sz="378"/>
            </a:lvl8pPr>
            <a:lvl9pPr marL="863559" indent="0" algn="ctr">
              <a:buNone/>
              <a:defRPr sz="378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7993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804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15307" y="86210"/>
            <a:ext cx="667494" cy="137224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2824" y="86210"/>
            <a:ext cx="1963787" cy="137224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637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904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12" y="403688"/>
            <a:ext cx="2669977" cy="673563"/>
          </a:xfrm>
        </p:spPr>
        <p:txBody>
          <a:bodyPr anchor="b"/>
          <a:lstStyle>
            <a:lvl1pPr>
              <a:defRPr sz="1417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212" y="1083623"/>
            <a:ext cx="2669977" cy="354211"/>
          </a:xfrm>
        </p:spPr>
        <p:txBody>
          <a:bodyPr/>
          <a:lstStyle>
            <a:lvl1pPr marL="0" indent="0">
              <a:buNone/>
              <a:defRPr sz="567">
                <a:solidFill>
                  <a:schemeClr val="tx1">
                    <a:tint val="75000"/>
                  </a:schemeClr>
                </a:solidFill>
              </a:defRPr>
            </a:lvl1pPr>
            <a:lvl2pPr marL="107945" indent="0">
              <a:buNone/>
              <a:defRPr sz="472">
                <a:solidFill>
                  <a:schemeClr val="tx1">
                    <a:tint val="75000"/>
                  </a:schemeClr>
                </a:solidFill>
              </a:defRPr>
            </a:lvl2pPr>
            <a:lvl3pPr marL="215890" indent="0">
              <a:buNone/>
              <a:defRPr sz="425">
                <a:solidFill>
                  <a:schemeClr val="tx1">
                    <a:tint val="75000"/>
                  </a:schemeClr>
                </a:solidFill>
              </a:defRPr>
            </a:lvl3pPr>
            <a:lvl4pPr marL="323835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4pPr>
            <a:lvl5pPr marL="431780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5pPr>
            <a:lvl6pPr marL="539725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6pPr>
            <a:lvl7pPr marL="647670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7pPr>
            <a:lvl8pPr marL="755614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8pPr>
            <a:lvl9pPr marL="863559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1527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24" y="431050"/>
            <a:ext cx="1315641" cy="102739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160" y="431050"/>
            <a:ext cx="1315641" cy="102739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398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86210"/>
            <a:ext cx="2669977" cy="31298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228" y="396941"/>
            <a:ext cx="1309594" cy="194535"/>
          </a:xfrm>
        </p:spPr>
        <p:txBody>
          <a:bodyPr anchor="b"/>
          <a:lstStyle>
            <a:lvl1pPr marL="0" indent="0">
              <a:buNone/>
              <a:defRPr sz="567" b="1"/>
            </a:lvl1pPr>
            <a:lvl2pPr marL="107945" indent="0">
              <a:buNone/>
              <a:defRPr sz="472" b="1"/>
            </a:lvl2pPr>
            <a:lvl3pPr marL="215890" indent="0">
              <a:buNone/>
              <a:defRPr sz="425" b="1"/>
            </a:lvl3pPr>
            <a:lvl4pPr marL="323835" indent="0">
              <a:buNone/>
              <a:defRPr sz="378" b="1"/>
            </a:lvl4pPr>
            <a:lvl5pPr marL="431780" indent="0">
              <a:buNone/>
              <a:defRPr sz="378" b="1"/>
            </a:lvl5pPr>
            <a:lvl6pPr marL="539725" indent="0">
              <a:buNone/>
              <a:defRPr sz="378" b="1"/>
            </a:lvl6pPr>
            <a:lvl7pPr marL="647670" indent="0">
              <a:buNone/>
              <a:defRPr sz="378" b="1"/>
            </a:lvl7pPr>
            <a:lvl8pPr marL="755614" indent="0">
              <a:buNone/>
              <a:defRPr sz="378" b="1"/>
            </a:lvl8pPr>
            <a:lvl9pPr marL="863559" indent="0">
              <a:buNone/>
              <a:defRPr sz="378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3228" y="591476"/>
            <a:ext cx="1309594" cy="86997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67160" y="396941"/>
            <a:ext cx="1316044" cy="194535"/>
          </a:xfrm>
        </p:spPr>
        <p:txBody>
          <a:bodyPr anchor="b"/>
          <a:lstStyle>
            <a:lvl1pPr marL="0" indent="0">
              <a:buNone/>
              <a:defRPr sz="567" b="1"/>
            </a:lvl1pPr>
            <a:lvl2pPr marL="107945" indent="0">
              <a:buNone/>
              <a:defRPr sz="472" b="1"/>
            </a:lvl2pPr>
            <a:lvl3pPr marL="215890" indent="0">
              <a:buNone/>
              <a:defRPr sz="425" b="1"/>
            </a:lvl3pPr>
            <a:lvl4pPr marL="323835" indent="0">
              <a:buNone/>
              <a:defRPr sz="378" b="1"/>
            </a:lvl4pPr>
            <a:lvl5pPr marL="431780" indent="0">
              <a:buNone/>
              <a:defRPr sz="378" b="1"/>
            </a:lvl5pPr>
            <a:lvl6pPr marL="539725" indent="0">
              <a:buNone/>
              <a:defRPr sz="378" b="1"/>
            </a:lvl6pPr>
            <a:lvl7pPr marL="647670" indent="0">
              <a:buNone/>
              <a:defRPr sz="378" b="1"/>
            </a:lvl7pPr>
            <a:lvl8pPr marL="755614" indent="0">
              <a:buNone/>
              <a:defRPr sz="378" b="1"/>
            </a:lvl8pPr>
            <a:lvl9pPr marL="863559" indent="0">
              <a:buNone/>
              <a:defRPr sz="378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67160" y="591476"/>
            <a:ext cx="1316044" cy="869972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88789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8517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6434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7950"/>
            <a:ext cx="998420" cy="377825"/>
          </a:xfrm>
        </p:spPr>
        <p:txBody>
          <a:bodyPr anchor="b"/>
          <a:lstStyle>
            <a:lvl1pPr>
              <a:defRPr sz="756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6044" y="233142"/>
            <a:ext cx="1567160" cy="1150717"/>
          </a:xfrm>
        </p:spPr>
        <p:txBody>
          <a:bodyPr/>
          <a:lstStyle>
            <a:lvl1pPr>
              <a:defRPr sz="756"/>
            </a:lvl1pPr>
            <a:lvl2pPr>
              <a:defRPr sz="661"/>
            </a:lvl2pPr>
            <a:lvl3pPr>
              <a:defRPr sz="567"/>
            </a:lvl3pPr>
            <a:lvl4pPr>
              <a:defRPr sz="472"/>
            </a:lvl4pPr>
            <a:lvl5pPr>
              <a:defRPr sz="472"/>
            </a:lvl5pPr>
            <a:lvl6pPr>
              <a:defRPr sz="472"/>
            </a:lvl6pPr>
            <a:lvl7pPr>
              <a:defRPr sz="472"/>
            </a:lvl7pPr>
            <a:lvl8pPr>
              <a:defRPr sz="472"/>
            </a:lvl8pPr>
            <a:lvl9pPr>
              <a:defRPr sz="472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85775"/>
            <a:ext cx="998420" cy="899958"/>
          </a:xfrm>
        </p:spPr>
        <p:txBody>
          <a:bodyPr/>
          <a:lstStyle>
            <a:lvl1pPr marL="0" indent="0">
              <a:buNone/>
              <a:defRPr sz="378"/>
            </a:lvl1pPr>
            <a:lvl2pPr marL="107945" indent="0">
              <a:buNone/>
              <a:defRPr sz="331"/>
            </a:lvl2pPr>
            <a:lvl3pPr marL="215890" indent="0">
              <a:buNone/>
              <a:defRPr sz="283"/>
            </a:lvl3pPr>
            <a:lvl4pPr marL="323835" indent="0">
              <a:buNone/>
              <a:defRPr sz="236"/>
            </a:lvl4pPr>
            <a:lvl5pPr marL="431780" indent="0">
              <a:buNone/>
              <a:defRPr sz="236"/>
            </a:lvl5pPr>
            <a:lvl6pPr marL="539725" indent="0">
              <a:buNone/>
              <a:defRPr sz="236"/>
            </a:lvl6pPr>
            <a:lvl7pPr marL="647670" indent="0">
              <a:buNone/>
              <a:defRPr sz="236"/>
            </a:lvl7pPr>
            <a:lvl8pPr marL="755614" indent="0">
              <a:buNone/>
              <a:defRPr sz="236"/>
            </a:lvl8pPr>
            <a:lvl9pPr marL="863559" indent="0">
              <a:buNone/>
              <a:defRPr sz="236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2355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7950"/>
            <a:ext cx="998420" cy="377825"/>
          </a:xfrm>
        </p:spPr>
        <p:txBody>
          <a:bodyPr anchor="b"/>
          <a:lstStyle>
            <a:lvl1pPr>
              <a:defRPr sz="756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16044" y="233142"/>
            <a:ext cx="1567160" cy="1150717"/>
          </a:xfrm>
        </p:spPr>
        <p:txBody>
          <a:bodyPr anchor="t"/>
          <a:lstStyle>
            <a:lvl1pPr marL="0" indent="0">
              <a:buNone/>
              <a:defRPr sz="756"/>
            </a:lvl1pPr>
            <a:lvl2pPr marL="107945" indent="0">
              <a:buNone/>
              <a:defRPr sz="661"/>
            </a:lvl2pPr>
            <a:lvl3pPr marL="215890" indent="0">
              <a:buNone/>
              <a:defRPr sz="567"/>
            </a:lvl3pPr>
            <a:lvl4pPr marL="323835" indent="0">
              <a:buNone/>
              <a:defRPr sz="472"/>
            </a:lvl4pPr>
            <a:lvl5pPr marL="431780" indent="0">
              <a:buNone/>
              <a:defRPr sz="472"/>
            </a:lvl5pPr>
            <a:lvl6pPr marL="539725" indent="0">
              <a:buNone/>
              <a:defRPr sz="472"/>
            </a:lvl6pPr>
            <a:lvl7pPr marL="647670" indent="0">
              <a:buNone/>
              <a:defRPr sz="472"/>
            </a:lvl7pPr>
            <a:lvl8pPr marL="755614" indent="0">
              <a:buNone/>
              <a:defRPr sz="472"/>
            </a:lvl8pPr>
            <a:lvl9pPr marL="863559" indent="0">
              <a:buNone/>
              <a:defRPr sz="472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85775"/>
            <a:ext cx="998420" cy="899958"/>
          </a:xfrm>
        </p:spPr>
        <p:txBody>
          <a:bodyPr/>
          <a:lstStyle>
            <a:lvl1pPr marL="0" indent="0">
              <a:buNone/>
              <a:defRPr sz="378"/>
            </a:lvl1pPr>
            <a:lvl2pPr marL="107945" indent="0">
              <a:buNone/>
              <a:defRPr sz="331"/>
            </a:lvl2pPr>
            <a:lvl3pPr marL="215890" indent="0">
              <a:buNone/>
              <a:defRPr sz="283"/>
            </a:lvl3pPr>
            <a:lvl4pPr marL="323835" indent="0">
              <a:buNone/>
              <a:defRPr sz="236"/>
            </a:lvl4pPr>
            <a:lvl5pPr marL="431780" indent="0">
              <a:buNone/>
              <a:defRPr sz="236"/>
            </a:lvl5pPr>
            <a:lvl6pPr marL="539725" indent="0">
              <a:buNone/>
              <a:defRPr sz="236"/>
            </a:lvl6pPr>
            <a:lvl7pPr marL="647670" indent="0">
              <a:buNone/>
              <a:defRPr sz="236"/>
            </a:lvl7pPr>
            <a:lvl8pPr marL="755614" indent="0">
              <a:buNone/>
              <a:defRPr sz="236"/>
            </a:lvl8pPr>
            <a:lvl9pPr marL="863559" indent="0">
              <a:buNone/>
              <a:defRPr sz="236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4625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2824" y="86210"/>
            <a:ext cx="2669977" cy="3129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824" y="431050"/>
            <a:ext cx="2669977" cy="1027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2824" y="1500805"/>
            <a:ext cx="696516" cy="86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8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5426" y="1500805"/>
            <a:ext cx="1044773" cy="86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8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86285" y="1500805"/>
            <a:ext cx="696516" cy="86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384264"/>
              </p:ext>
            </p:extLst>
          </p:nvPr>
        </p:nvGraphicFramePr>
        <p:xfrm>
          <a:off x="404" y="376"/>
          <a:ext cx="403" cy="3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04" y="376"/>
                        <a:ext cx="403" cy="3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40308" cy="374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1039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77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215890" rtl="0" eaLnBrk="1" latinLnBrk="0" hangingPunct="1">
        <a:lnSpc>
          <a:spcPct val="90000"/>
        </a:lnSpc>
        <a:spcBef>
          <a:spcPct val="0"/>
        </a:spcBef>
        <a:buNone/>
        <a:defRPr sz="103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3972" indent="-53972" algn="l" defTabSz="215890" rtl="0" eaLnBrk="1" latinLnBrk="0" hangingPunct="1">
        <a:lnSpc>
          <a:spcPct val="90000"/>
        </a:lnSpc>
        <a:spcBef>
          <a:spcPts val="236"/>
        </a:spcBef>
        <a:buFont typeface="Arial" panose="020B0604020202020204" pitchFamily="34" charset="0"/>
        <a:buChar char="•"/>
        <a:defRPr sz="661" kern="1200">
          <a:solidFill>
            <a:schemeClr val="tx1"/>
          </a:solidFill>
          <a:latin typeface="+mn-lt"/>
          <a:ea typeface="+mn-ea"/>
          <a:cs typeface="+mn-cs"/>
        </a:defRPr>
      </a:lvl1pPr>
      <a:lvl2pPr marL="16191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2pPr>
      <a:lvl3pPr marL="26986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72" kern="1200">
          <a:solidFill>
            <a:schemeClr val="tx1"/>
          </a:solidFill>
          <a:latin typeface="+mn-lt"/>
          <a:ea typeface="+mn-ea"/>
          <a:cs typeface="+mn-cs"/>
        </a:defRPr>
      </a:lvl3pPr>
      <a:lvl4pPr marL="37780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4pPr>
      <a:lvl5pPr marL="48575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5pPr>
      <a:lvl6pPr marL="59369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6pPr>
      <a:lvl7pPr marL="70164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7pPr>
      <a:lvl8pPr marL="80958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8pPr>
      <a:lvl9pPr marL="91753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1pPr>
      <a:lvl2pPr marL="107945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2pPr>
      <a:lvl3pPr marL="21589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3pPr>
      <a:lvl4pPr marL="323835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4pPr>
      <a:lvl5pPr marL="43178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5pPr>
      <a:lvl6pPr marL="539725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6pPr>
      <a:lvl7pPr marL="64767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7pPr>
      <a:lvl8pPr marL="755614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8pPr>
      <a:lvl9pPr marL="863559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191509"/>
              </p:ext>
            </p:extLst>
          </p:nvPr>
        </p:nvGraphicFramePr>
        <p:xfrm>
          <a:off x="-5113045" y="-3044797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5113045" y="-3044797"/>
                        <a:ext cx="1786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4E915C0-1D83-4EB8-83ED-A7D04321035E}"/>
              </a:ext>
            </a:extLst>
          </p:cNvPr>
          <p:cNvGrpSpPr>
            <a:grpSpLocks noChangeAspect="1"/>
          </p:cNvGrpSpPr>
          <p:nvPr/>
        </p:nvGrpSpPr>
        <p:grpSpPr>
          <a:xfrm>
            <a:off x="1779893" y="756688"/>
            <a:ext cx="1231805" cy="846335"/>
            <a:chOff x="3212534" y="2975856"/>
            <a:chExt cx="4617863" cy="3172793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AF5CEBB1-31CF-4D2F-9E22-2638BFB5863C}"/>
                </a:ext>
              </a:extLst>
            </p:cNvPr>
            <p:cNvGrpSpPr/>
            <p:nvPr/>
          </p:nvGrpSpPr>
          <p:grpSpPr>
            <a:xfrm>
              <a:off x="3212534" y="2975856"/>
              <a:ext cx="4617863" cy="3172793"/>
              <a:chOff x="3212534" y="2975856"/>
              <a:chExt cx="4617863" cy="3172793"/>
            </a:xfrm>
          </p:grpSpPr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76AE26DA-0ABE-4CBB-8768-0294331AFDF9}"/>
                  </a:ext>
                </a:extLst>
              </p:cNvPr>
              <p:cNvGrpSpPr/>
              <p:nvPr/>
            </p:nvGrpSpPr>
            <p:grpSpPr>
              <a:xfrm>
                <a:off x="3212534" y="2975856"/>
                <a:ext cx="4617863" cy="3172793"/>
                <a:chOff x="3757117" y="1700931"/>
                <a:chExt cx="4617863" cy="3172793"/>
              </a:xfrm>
            </p:grpSpPr>
            <p:cxnSp>
              <p:nvCxnSpPr>
                <p:cNvPr id="11" name="Gerader Verbinder 10">
                  <a:extLst>
                    <a:ext uri="{FF2B5EF4-FFF2-40B4-BE49-F238E27FC236}">
                      <a16:creationId xmlns:a16="http://schemas.microsoft.com/office/drawing/2014/main" id="{0DA52404-A000-4694-A48A-5ECB7B3B10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095996" y="1700932"/>
                  <a:ext cx="4" cy="2183159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Gerader Verbinder 11">
                  <a:extLst>
                    <a:ext uri="{FF2B5EF4-FFF2-40B4-BE49-F238E27FC236}">
                      <a16:creationId xmlns:a16="http://schemas.microsoft.com/office/drawing/2014/main" id="{EC9A71E6-DCA5-4361-B19D-FF9C0D0FB5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795788" y="4437113"/>
                  <a:ext cx="457919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E81A0493-EE53-4959-972F-4632C8B2564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662730" y="1700931"/>
                  <a:ext cx="8200" cy="138387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Gerader Verbinder 13">
                  <a:extLst>
                    <a:ext uri="{FF2B5EF4-FFF2-40B4-BE49-F238E27FC236}">
                      <a16:creationId xmlns:a16="http://schemas.microsoft.com/office/drawing/2014/main" id="{37416758-5228-496B-B308-4747E367AEE4}"/>
                    </a:ext>
                  </a:extLst>
                </p:cNvPr>
                <p:cNvCxnSpPr>
                  <a:cxnSpLocks/>
                  <a:endCxn id="24" idx="0"/>
                </p:cNvCxnSpPr>
                <p:nvPr/>
              </p:nvCxnSpPr>
              <p:spPr>
                <a:xfrm flipH="1">
                  <a:off x="6527801" y="1700933"/>
                  <a:ext cx="253" cy="1366119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F156C399-AD3B-40F1-934D-DF0279163B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795788" y="4014202"/>
                  <a:ext cx="862485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E06833EE-3DCE-4988-8AD3-21C3AB3EE1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757117" y="4873724"/>
                  <a:ext cx="461786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7" name="Gruppieren 16">
                  <a:extLst>
                    <a:ext uri="{FF2B5EF4-FFF2-40B4-BE49-F238E27FC236}">
                      <a16:creationId xmlns:a16="http://schemas.microsoft.com/office/drawing/2014/main" id="{4D2E1BEB-8403-4558-908A-E4BC700536FE}"/>
                    </a:ext>
                  </a:extLst>
                </p:cNvPr>
                <p:cNvGrpSpPr/>
                <p:nvPr/>
              </p:nvGrpSpPr>
              <p:grpSpPr>
                <a:xfrm>
                  <a:off x="4653032" y="3066738"/>
                  <a:ext cx="2861896" cy="1806985"/>
                  <a:chOff x="4653032" y="3066738"/>
                  <a:chExt cx="2861896" cy="1806985"/>
                </a:xfrm>
              </p:grpSpPr>
              <p:cxnSp>
                <p:nvCxnSpPr>
                  <p:cNvPr id="25" name="Gerader Verbinder 24">
                    <a:extLst>
                      <a:ext uri="{FF2B5EF4-FFF2-40B4-BE49-F238E27FC236}">
                        <a16:creationId xmlns:a16="http://schemas.microsoft.com/office/drawing/2014/main" id="{3C6A7A07-10EB-4A0D-BF36-247FAC90796D}"/>
                      </a:ext>
                    </a:extLst>
                  </p:cNvPr>
                  <p:cNvCxnSpPr/>
                  <p:nvPr/>
                </p:nvCxnSpPr>
                <p:spPr>
                  <a:xfrm>
                    <a:off x="5663952" y="3069022"/>
                    <a:ext cx="864096" cy="0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Gerader Verbinder 25">
                    <a:extLst>
                      <a:ext uri="{FF2B5EF4-FFF2-40B4-BE49-F238E27FC236}">
                        <a16:creationId xmlns:a16="http://schemas.microsoft.com/office/drawing/2014/main" id="{48FEFA66-C001-4ECE-8F87-4F5BB936F2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5840" y="4005068"/>
                    <a:ext cx="0" cy="864088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Gerader Verbinder 26">
                    <a:extLst>
                      <a:ext uri="{FF2B5EF4-FFF2-40B4-BE49-F238E27FC236}">
                        <a16:creationId xmlns:a16="http://schemas.microsoft.com/office/drawing/2014/main" id="{53584A21-3063-4CF6-A1BC-1A179A1236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14928" y="4005068"/>
                    <a:ext cx="0" cy="864088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Gerader Verbinder 27">
                    <a:extLst>
                      <a:ext uri="{FF2B5EF4-FFF2-40B4-BE49-F238E27FC236}">
                        <a16:creationId xmlns:a16="http://schemas.microsoft.com/office/drawing/2014/main" id="{E70513D5-A69B-4ED8-9DA9-5AA68D22A74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655840" y="3069022"/>
                    <a:ext cx="1008112" cy="940615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Gerader Verbinder 28">
                    <a:extLst>
                      <a:ext uri="{FF2B5EF4-FFF2-40B4-BE49-F238E27FC236}">
                        <a16:creationId xmlns:a16="http://schemas.microsoft.com/office/drawing/2014/main" id="{3B643EEC-33BB-4373-B5C1-CC63A17255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528044" y="3066738"/>
                    <a:ext cx="986884" cy="942900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" name="Gerader Verbinder 29">
                    <a:extLst>
                      <a:ext uri="{FF2B5EF4-FFF2-40B4-BE49-F238E27FC236}">
                        <a16:creationId xmlns:a16="http://schemas.microsoft.com/office/drawing/2014/main" id="{109DBB14-DA54-4224-BED1-CD57EF2A56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3032" y="4873723"/>
                    <a:ext cx="2861896" cy="0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8" name="Ellipse 17">
                  <a:extLst>
                    <a:ext uri="{FF2B5EF4-FFF2-40B4-BE49-F238E27FC236}">
                      <a16:creationId xmlns:a16="http://schemas.microsoft.com/office/drawing/2014/main" id="{5AC82FC7-89E7-4B65-819E-0F92B4E76760}"/>
                    </a:ext>
                  </a:extLst>
                </p:cNvPr>
                <p:cNvSpPr/>
                <p:nvPr/>
              </p:nvSpPr>
              <p:spPr>
                <a:xfrm>
                  <a:off x="5811427" y="2994730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Ellipse 18">
                  <a:extLst>
                    <a:ext uri="{FF2B5EF4-FFF2-40B4-BE49-F238E27FC236}">
                      <a16:creationId xmlns:a16="http://schemas.microsoft.com/office/drawing/2014/main" id="{AFBD295D-4A73-49E4-B7F9-F910145F3627}"/>
                    </a:ext>
                  </a:extLst>
                </p:cNvPr>
                <p:cNvSpPr/>
                <p:nvPr/>
              </p:nvSpPr>
              <p:spPr>
                <a:xfrm>
                  <a:off x="6243475" y="2994730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Ellipse 19">
                  <a:extLst>
                    <a:ext uri="{FF2B5EF4-FFF2-40B4-BE49-F238E27FC236}">
                      <a16:creationId xmlns:a16="http://schemas.microsoft.com/office/drawing/2014/main" id="{F8CDBEBA-6B99-4C6B-AF46-53A261069298}"/>
                    </a:ext>
                  </a:extLst>
                </p:cNvPr>
                <p:cNvSpPr/>
                <p:nvPr/>
              </p:nvSpPr>
              <p:spPr>
                <a:xfrm>
                  <a:off x="4586160" y="4153650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Ellipse 20">
                  <a:extLst>
                    <a:ext uri="{FF2B5EF4-FFF2-40B4-BE49-F238E27FC236}">
                      <a16:creationId xmlns:a16="http://schemas.microsoft.com/office/drawing/2014/main" id="{AB7BC149-2D48-4739-A514-197590D75448}"/>
                    </a:ext>
                  </a:extLst>
                </p:cNvPr>
                <p:cNvSpPr/>
                <p:nvPr/>
              </p:nvSpPr>
              <p:spPr>
                <a:xfrm>
                  <a:off x="4586160" y="4590261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706BF287-E6DF-478B-A7F4-90F3B4E42745}"/>
                    </a:ext>
                  </a:extLst>
                </p:cNvPr>
                <p:cNvSpPr/>
                <p:nvPr/>
              </p:nvSpPr>
              <p:spPr>
                <a:xfrm>
                  <a:off x="7445146" y="4583016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" name="Ellipse 22">
                  <a:extLst>
                    <a:ext uri="{FF2B5EF4-FFF2-40B4-BE49-F238E27FC236}">
                      <a16:creationId xmlns:a16="http://schemas.microsoft.com/office/drawing/2014/main" id="{E439D593-90B6-47A3-BF52-533E5D19822D}"/>
                    </a:ext>
                  </a:extLst>
                </p:cNvPr>
                <p:cNvSpPr/>
                <p:nvPr/>
              </p:nvSpPr>
              <p:spPr>
                <a:xfrm>
                  <a:off x="7445146" y="4179536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Freihandform: Form 85">
                  <a:extLst>
                    <a:ext uri="{FF2B5EF4-FFF2-40B4-BE49-F238E27FC236}">
                      <a16:creationId xmlns:a16="http://schemas.microsoft.com/office/drawing/2014/main" id="{8CABF203-7B54-42CE-993D-6BCE95A27638}"/>
                    </a:ext>
                  </a:extLst>
                </p:cNvPr>
                <p:cNvSpPr/>
                <p:nvPr/>
              </p:nvSpPr>
              <p:spPr>
                <a:xfrm>
                  <a:off x="6527801" y="3067051"/>
                  <a:ext cx="977900" cy="933664"/>
                </a:xfrm>
                <a:custGeom>
                  <a:avLst/>
                  <a:gdLst>
                    <a:gd name="connsiteX0" fmla="*/ 0 w 977900"/>
                    <a:gd name="connsiteY0" fmla="*/ 0 h 933450"/>
                    <a:gd name="connsiteX1" fmla="*/ 63500 w 977900"/>
                    <a:gd name="connsiteY1" fmla="*/ 298450 h 933450"/>
                    <a:gd name="connsiteX2" fmla="*/ 260350 w 977900"/>
                    <a:gd name="connsiteY2" fmla="*/ 590550 h 933450"/>
                    <a:gd name="connsiteX3" fmla="*/ 571500 w 977900"/>
                    <a:gd name="connsiteY3" fmla="*/ 844550 h 933450"/>
                    <a:gd name="connsiteX4" fmla="*/ 977900 w 977900"/>
                    <a:gd name="connsiteY4" fmla="*/ 933450 h 933450"/>
                    <a:gd name="connsiteX0" fmla="*/ 780 w 978680"/>
                    <a:gd name="connsiteY0" fmla="*/ 0 h 933450"/>
                    <a:gd name="connsiteX1" fmla="*/ 64280 w 978680"/>
                    <a:gd name="connsiteY1" fmla="*/ 298450 h 933450"/>
                    <a:gd name="connsiteX2" fmla="*/ 572280 w 978680"/>
                    <a:gd name="connsiteY2" fmla="*/ 844550 h 933450"/>
                    <a:gd name="connsiteX3" fmla="*/ 978680 w 978680"/>
                    <a:gd name="connsiteY3" fmla="*/ 933450 h 933450"/>
                    <a:gd name="connsiteX0" fmla="*/ 0 w 977900"/>
                    <a:gd name="connsiteY0" fmla="*/ 0 h 933450"/>
                    <a:gd name="connsiteX1" fmla="*/ 571500 w 977900"/>
                    <a:gd name="connsiteY1" fmla="*/ 844550 h 933450"/>
                    <a:gd name="connsiteX2" fmla="*/ 977900 w 977900"/>
                    <a:gd name="connsiteY2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664"/>
                    <a:gd name="connsiteX1" fmla="*/ 977900 w 977900"/>
                    <a:gd name="connsiteY1" fmla="*/ 933450 h 933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7900" h="933664">
                      <a:moveTo>
                        <a:pt x="0" y="0"/>
                      </a:moveTo>
                      <a:cubicBezTo>
                        <a:pt x="13376" y="400461"/>
                        <a:pt x="156995" y="946055"/>
                        <a:pt x="977900" y="933450"/>
                      </a:cubicBezTo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/>
                </a:p>
              </p:txBody>
            </p:sp>
          </p:grpSp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90615776-E021-4AF9-8E30-1122D1309B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70591" y="5271216"/>
                <a:ext cx="847529" cy="1824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r Verbinder 9">
                <a:extLst>
                  <a:ext uri="{FF2B5EF4-FFF2-40B4-BE49-F238E27FC236}">
                    <a16:creationId xmlns:a16="http://schemas.microsoft.com/office/drawing/2014/main" id="{47CE273C-B6B3-42AF-8603-FE2AED7BE0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27727" y="5289238"/>
                <a:ext cx="2828627" cy="2284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Freihandform: Form 64">
              <a:extLst>
                <a:ext uri="{FF2B5EF4-FFF2-40B4-BE49-F238E27FC236}">
                  <a16:creationId xmlns:a16="http://schemas.microsoft.com/office/drawing/2014/main" id="{8C5BAC07-9EDF-4701-9D45-933408E3290F}"/>
                </a:ext>
              </a:extLst>
            </p:cNvPr>
            <p:cNvSpPr/>
            <p:nvPr/>
          </p:nvSpPr>
          <p:spPr>
            <a:xfrm>
              <a:off x="4108449" y="4343400"/>
              <a:ext cx="1010677" cy="946151"/>
            </a:xfrm>
            <a:custGeom>
              <a:avLst/>
              <a:gdLst>
                <a:gd name="connsiteX0" fmla="*/ 1003300 w 1007291"/>
                <a:gd name="connsiteY0" fmla="*/ 0 h 946150"/>
                <a:gd name="connsiteX1" fmla="*/ 996950 w 1007291"/>
                <a:gd name="connsiteY1" fmla="*/ 285750 h 946150"/>
                <a:gd name="connsiteX2" fmla="*/ 914400 w 1007291"/>
                <a:gd name="connsiteY2" fmla="*/ 565150 h 946150"/>
                <a:gd name="connsiteX3" fmla="*/ 723900 w 1007291"/>
                <a:gd name="connsiteY3" fmla="*/ 819150 h 946150"/>
                <a:gd name="connsiteX4" fmla="*/ 406400 w 1007291"/>
                <a:gd name="connsiteY4" fmla="*/ 895350 h 946150"/>
                <a:gd name="connsiteX5" fmla="*/ 0 w 1007291"/>
                <a:gd name="connsiteY5" fmla="*/ 946150 h 946150"/>
                <a:gd name="connsiteX0" fmla="*/ 1003300 w 1007291"/>
                <a:gd name="connsiteY0" fmla="*/ 0 h 946150"/>
                <a:gd name="connsiteX1" fmla="*/ 996950 w 1007291"/>
                <a:gd name="connsiteY1" fmla="*/ 285750 h 946150"/>
                <a:gd name="connsiteX2" fmla="*/ 914400 w 1007291"/>
                <a:gd name="connsiteY2" fmla="*/ 565150 h 946150"/>
                <a:gd name="connsiteX3" fmla="*/ 723900 w 1007291"/>
                <a:gd name="connsiteY3" fmla="*/ 819150 h 946150"/>
                <a:gd name="connsiteX4" fmla="*/ 0 w 1007291"/>
                <a:gd name="connsiteY4" fmla="*/ 946150 h 946150"/>
                <a:gd name="connsiteX0" fmla="*/ 1003300 w 1012576"/>
                <a:gd name="connsiteY0" fmla="*/ 0 h 946150"/>
                <a:gd name="connsiteX1" fmla="*/ 996950 w 1012576"/>
                <a:gd name="connsiteY1" fmla="*/ 285750 h 946150"/>
                <a:gd name="connsiteX2" fmla="*/ 914400 w 1012576"/>
                <a:gd name="connsiteY2" fmla="*/ 565150 h 946150"/>
                <a:gd name="connsiteX3" fmla="*/ 0 w 1012576"/>
                <a:gd name="connsiteY3" fmla="*/ 946150 h 946150"/>
                <a:gd name="connsiteX0" fmla="*/ 1003300 w 1073938"/>
                <a:gd name="connsiteY0" fmla="*/ 0 h 946150"/>
                <a:gd name="connsiteX1" fmla="*/ 996950 w 1073938"/>
                <a:gd name="connsiteY1" fmla="*/ 285750 h 946150"/>
                <a:gd name="connsiteX2" fmla="*/ 0 w 1073938"/>
                <a:gd name="connsiteY2" fmla="*/ 946150 h 946150"/>
                <a:gd name="connsiteX0" fmla="*/ 1003300 w 1003299"/>
                <a:gd name="connsiteY0" fmla="*/ 0 h 946150"/>
                <a:gd name="connsiteX1" fmla="*/ 0 w 1003299"/>
                <a:gd name="connsiteY1" fmla="*/ 946150 h 946150"/>
                <a:gd name="connsiteX0" fmla="*/ 1003300 w 1003301"/>
                <a:gd name="connsiteY0" fmla="*/ 0 h 946150"/>
                <a:gd name="connsiteX1" fmla="*/ 0 w 1003301"/>
                <a:gd name="connsiteY1" fmla="*/ 946150 h 946150"/>
                <a:gd name="connsiteX0" fmla="*/ 1003300 w 1003299"/>
                <a:gd name="connsiteY0" fmla="*/ 0 h 946150"/>
                <a:gd name="connsiteX1" fmla="*/ 0 w 1003299"/>
                <a:gd name="connsiteY1" fmla="*/ 946150 h 946150"/>
                <a:gd name="connsiteX0" fmla="*/ 1003300 w 1003301"/>
                <a:gd name="connsiteY0" fmla="*/ 0 h 946150"/>
                <a:gd name="connsiteX1" fmla="*/ 0 w 1003301"/>
                <a:gd name="connsiteY1" fmla="*/ 946150 h 946150"/>
                <a:gd name="connsiteX0" fmla="*/ 1003300 w 1003299"/>
                <a:gd name="connsiteY0" fmla="*/ 0 h 946150"/>
                <a:gd name="connsiteX1" fmla="*/ 0 w 1003299"/>
                <a:gd name="connsiteY1" fmla="*/ 946150 h 94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3299" h="946150">
                  <a:moveTo>
                    <a:pt x="1003300" y="0"/>
                  </a:moveTo>
                  <a:cubicBezTo>
                    <a:pt x="972804" y="528739"/>
                    <a:pt x="646556" y="934676"/>
                    <a:pt x="0" y="94615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24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0351E69B-9322-43F4-93DD-95D888D305C1}"/>
              </a:ext>
            </a:extLst>
          </p:cNvPr>
          <p:cNvGrpSpPr>
            <a:grpSpLocks noChangeAspect="1"/>
          </p:cNvGrpSpPr>
          <p:nvPr/>
        </p:nvGrpSpPr>
        <p:grpSpPr>
          <a:xfrm>
            <a:off x="149193" y="780984"/>
            <a:ext cx="1238444" cy="817104"/>
            <a:chOff x="-1017178" y="1842604"/>
            <a:chExt cx="4808922" cy="3172792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660A2F8-DDD0-46DC-97A8-26BCFD1A1313}"/>
                </a:ext>
              </a:extLst>
            </p:cNvPr>
            <p:cNvGrpSpPr/>
            <p:nvPr/>
          </p:nvGrpSpPr>
          <p:grpSpPr>
            <a:xfrm>
              <a:off x="-1017178" y="1842604"/>
              <a:ext cx="4761172" cy="3172792"/>
              <a:chOff x="3613808" y="1700932"/>
              <a:chExt cx="4761172" cy="3172792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931BDEC4-974D-4885-BF47-24758A930D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1700932"/>
                <a:ext cx="0" cy="139382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6BBCFBCF-21BF-4ACA-AEFA-7522E5DB19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92" y="4437113"/>
                <a:ext cx="940880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F07BFFB-E605-4BCF-AE06-EFDEC6D183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63952" y="1700932"/>
                <a:ext cx="0" cy="139382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1CA1612F-CDAD-44A0-A507-9D4D3B1CD11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28043" y="1700932"/>
                <a:ext cx="5" cy="136580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D0491745-95BA-4121-8C1F-8421420CB4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3808" y="4005068"/>
                <a:ext cx="1040897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03CC2555-7C5A-4194-8733-0712ABA837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3808" y="4873724"/>
                <a:ext cx="476117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" name="Gruppieren 40">
                <a:extLst>
                  <a:ext uri="{FF2B5EF4-FFF2-40B4-BE49-F238E27FC236}">
                    <a16:creationId xmlns:a16="http://schemas.microsoft.com/office/drawing/2014/main" id="{05906D3D-EA21-40DE-BE10-2BAF81230364}"/>
                  </a:ext>
                </a:extLst>
              </p:cNvPr>
              <p:cNvGrpSpPr/>
              <p:nvPr/>
            </p:nvGrpSpPr>
            <p:grpSpPr>
              <a:xfrm>
                <a:off x="4655840" y="3066738"/>
                <a:ext cx="2880023" cy="1806985"/>
                <a:chOff x="4655840" y="3066738"/>
                <a:chExt cx="2880023" cy="1806985"/>
              </a:xfrm>
            </p:grpSpPr>
            <p:cxnSp>
              <p:nvCxnSpPr>
                <p:cNvPr id="48" name="Gerader Verbinder 47">
                  <a:extLst>
                    <a:ext uri="{FF2B5EF4-FFF2-40B4-BE49-F238E27FC236}">
                      <a16:creationId xmlns:a16="http://schemas.microsoft.com/office/drawing/2014/main" id="{AE928DED-B2B5-4A13-8011-C109A36187C0}"/>
                    </a:ext>
                  </a:extLst>
                </p:cNvPr>
                <p:cNvCxnSpPr/>
                <p:nvPr/>
              </p:nvCxnSpPr>
              <p:spPr>
                <a:xfrm>
                  <a:off x="5663952" y="3069022"/>
                  <a:ext cx="864096" cy="0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>
                  <a:extLst>
                    <a:ext uri="{FF2B5EF4-FFF2-40B4-BE49-F238E27FC236}">
                      <a16:creationId xmlns:a16="http://schemas.microsoft.com/office/drawing/2014/main" id="{7AD1C462-7329-4C40-BC3D-A27EEECC95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655840" y="4005068"/>
                  <a:ext cx="0" cy="864088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>
                  <a:extLst>
                    <a:ext uri="{FF2B5EF4-FFF2-40B4-BE49-F238E27FC236}">
                      <a16:creationId xmlns:a16="http://schemas.microsoft.com/office/drawing/2014/main" id="{E2110852-720B-4F1C-BB94-68C9F5274E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14928" y="4005068"/>
                  <a:ext cx="0" cy="864088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>
                  <a:extLst>
                    <a:ext uri="{FF2B5EF4-FFF2-40B4-BE49-F238E27FC236}">
                      <a16:creationId xmlns:a16="http://schemas.microsoft.com/office/drawing/2014/main" id="{DADD55ED-8446-45F2-9A2C-CE9F7CF2C0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655840" y="3069022"/>
                  <a:ext cx="1008112" cy="940615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>
                  <a:extLst>
                    <a:ext uri="{FF2B5EF4-FFF2-40B4-BE49-F238E27FC236}">
                      <a16:creationId xmlns:a16="http://schemas.microsoft.com/office/drawing/2014/main" id="{93C0B8EA-2708-4A12-BAE8-BA690C9DB6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28044" y="3066738"/>
                  <a:ext cx="1007819" cy="933763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Gerader Verbinder 52">
                  <a:extLst>
                    <a:ext uri="{FF2B5EF4-FFF2-40B4-BE49-F238E27FC236}">
                      <a16:creationId xmlns:a16="http://schemas.microsoft.com/office/drawing/2014/main" id="{40ECE6A6-F6EA-4158-AB44-D6DDC0C02C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677073" y="4869157"/>
                  <a:ext cx="2837855" cy="4566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1D964681-97B6-4DE0-B3A6-B3A46EB916E8}"/>
                  </a:ext>
                </a:extLst>
              </p:cNvPr>
              <p:cNvSpPr/>
              <p:nvPr/>
            </p:nvSpPr>
            <p:spPr>
              <a:xfrm>
                <a:off x="5811427" y="2994730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Ellipse 42">
                <a:extLst>
                  <a:ext uri="{FF2B5EF4-FFF2-40B4-BE49-F238E27FC236}">
                    <a16:creationId xmlns:a16="http://schemas.microsoft.com/office/drawing/2014/main" id="{28FCE41D-3215-4D9B-8627-45E0341674A2}"/>
                  </a:ext>
                </a:extLst>
              </p:cNvPr>
              <p:cNvSpPr/>
              <p:nvPr/>
            </p:nvSpPr>
            <p:spPr>
              <a:xfrm>
                <a:off x="6243475" y="2994730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16399A1D-B896-45A5-A586-E3217DA0695B}"/>
                  </a:ext>
                </a:extLst>
              </p:cNvPr>
              <p:cNvSpPr/>
              <p:nvPr/>
            </p:nvSpPr>
            <p:spPr>
              <a:xfrm>
                <a:off x="4586160" y="4153650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4A4B9872-82DE-42D6-93C3-BF00B605332B}"/>
                  </a:ext>
                </a:extLst>
              </p:cNvPr>
              <p:cNvSpPr/>
              <p:nvPr/>
            </p:nvSpPr>
            <p:spPr>
              <a:xfrm>
                <a:off x="4586160" y="4590261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FD1D22BB-2417-44BF-BB8F-9B87B37078B7}"/>
                  </a:ext>
                </a:extLst>
              </p:cNvPr>
              <p:cNvSpPr/>
              <p:nvPr/>
            </p:nvSpPr>
            <p:spPr>
              <a:xfrm>
                <a:off x="7445146" y="4583016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915A2C7-741F-4FBE-82A1-D9A2336BA2ED}"/>
                  </a:ext>
                </a:extLst>
              </p:cNvPr>
              <p:cNvSpPr/>
              <p:nvPr/>
            </p:nvSpPr>
            <p:spPr>
              <a:xfrm>
                <a:off x="7445146" y="4179536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57A5C314-01F5-4D01-A55A-2B7DCDFE09DF}"/>
                </a:ext>
              </a:extLst>
            </p:cNvPr>
            <p:cNvCxnSpPr>
              <a:cxnSpLocks/>
            </p:cNvCxnSpPr>
            <p:nvPr/>
          </p:nvCxnSpPr>
          <p:spPr>
            <a:xfrm>
              <a:off x="2882706" y="4578784"/>
              <a:ext cx="861288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637CBEB5-F9AB-46E2-A3D5-2BFE65B3655E}"/>
                </a:ext>
              </a:extLst>
            </p:cNvPr>
            <p:cNvCxnSpPr>
              <a:cxnSpLocks/>
            </p:cNvCxnSpPr>
            <p:nvPr/>
          </p:nvCxnSpPr>
          <p:spPr>
            <a:xfrm>
              <a:off x="2882706" y="4145149"/>
              <a:ext cx="909038" cy="616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9AD5367-6CC4-44BD-9DE4-314975B19089}"/>
              </a:ext>
            </a:extLst>
          </p:cNvPr>
          <p:cNvGrpSpPr>
            <a:grpSpLocks noChangeAspect="1"/>
          </p:cNvGrpSpPr>
          <p:nvPr/>
        </p:nvGrpSpPr>
        <p:grpSpPr>
          <a:xfrm>
            <a:off x="1774116" y="8515"/>
            <a:ext cx="1259597" cy="704779"/>
            <a:chOff x="3334420" y="2140917"/>
            <a:chExt cx="4884136" cy="2732807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FCEC3977-C499-4EF5-AEF8-0F840150A05B}"/>
                </a:ext>
              </a:extLst>
            </p:cNvPr>
            <p:cNvCxnSpPr>
              <a:cxnSpLocks/>
            </p:cNvCxnSpPr>
            <p:nvPr/>
          </p:nvCxnSpPr>
          <p:spPr>
            <a:xfrm>
              <a:off x="5806692" y="2221771"/>
              <a:ext cx="0" cy="2209654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E022C0F8-875A-4E07-A400-F780748E825E}"/>
                </a:ext>
              </a:extLst>
            </p:cNvPr>
            <p:cNvCxnSpPr>
              <a:cxnSpLocks/>
            </p:cNvCxnSpPr>
            <p:nvPr/>
          </p:nvCxnSpPr>
          <p:spPr>
            <a:xfrm>
              <a:off x="3334420" y="4437113"/>
              <a:ext cx="4786077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9CD6F68C-AADA-49C6-8030-951662A59B77}"/>
                </a:ext>
              </a:extLst>
            </p:cNvPr>
            <p:cNvCxnSpPr>
              <a:cxnSpLocks/>
            </p:cNvCxnSpPr>
            <p:nvPr/>
          </p:nvCxnSpPr>
          <p:spPr>
            <a:xfrm>
              <a:off x="5374645" y="2140917"/>
              <a:ext cx="0" cy="2290508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A34D86D-AEE9-4BBC-A6F8-179121EACC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38739" y="2146609"/>
              <a:ext cx="10031" cy="2284816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D53D8B82-32A2-4181-9F9D-FF8857FE1EF6}"/>
                </a:ext>
              </a:extLst>
            </p:cNvPr>
            <p:cNvCxnSpPr>
              <a:cxnSpLocks/>
            </p:cNvCxnSpPr>
            <p:nvPr/>
          </p:nvCxnSpPr>
          <p:spPr>
            <a:xfrm>
              <a:off x="3334420" y="4005066"/>
              <a:ext cx="4884136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5A599390-B09A-489C-8DEB-5836630BDFA6}"/>
                </a:ext>
              </a:extLst>
            </p:cNvPr>
            <p:cNvCxnSpPr>
              <a:cxnSpLocks/>
            </p:cNvCxnSpPr>
            <p:nvPr/>
          </p:nvCxnSpPr>
          <p:spPr>
            <a:xfrm>
              <a:off x="3334420" y="4873724"/>
              <a:ext cx="4884136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06A96F51-7788-4A3A-8CD6-C155F6731581}"/>
              </a:ext>
            </a:extLst>
          </p:cNvPr>
          <p:cNvCxnSpPr>
            <a:cxnSpLocks/>
          </p:cNvCxnSpPr>
          <p:nvPr/>
        </p:nvCxnSpPr>
        <p:spPr>
          <a:xfrm>
            <a:off x="778604" y="8515"/>
            <a:ext cx="0" cy="583047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89407E8B-5462-4B5C-A07A-8B84BA37FA54}"/>
              </a:ext>
            </a:extLst>
          </p:cNvPr>
          <p:cNvCxnSpPr>
            <a:cxnSpLocks/>
          </p:cNvCxnSpPr>
          <p:nvPr/>
        </p:nvCxnSpPr>
        <p:spPr>
          <a:xfrm>
            <a:off x="190520" y="595877"/>
            <a:ext cx="1176168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Ellipse 133">
            <a:extLst>
              <a:ext uri="{FF2B5EF4-FFF2-40B4-BE49-F238E27FC236}">
                <a16:creationId xmlns:a16="http://schemas.microsoft.com/office/drawing/2014/main" id="{28FCE41D-3215-4D9B-8627-45E0341674A2}"/>
              </a:ext>
            </a:extLst>
          </p:cNvPr>
          <p:cNvSpPr/>
          <p:nvPr/>
        </p:nvSpPr>
        <p:spPr>
          <a:xfrm>
            <a:off x="755745" y="573017"/>
            <a:ext cx="45719" cy="45719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24" dirty="0" err="1">
              <a:solidFill>
                <a:schemeClr val="tx1"/>
              </a:solidFill>
            </a:endParaRPr>
          </a:p>
        </p:txBody>
      </p:sp>
      <p:sp>
        <p:nvSpPr>
          <p:cNvPr id="135" name="Textfeld 134"/>
          <p:cNvSpPr txBox="1"/>
          <p:nvPr/>
        </p:nvSpPr>
        <p:spPr>
          <a:xfrm>
            <a:off x="-95136" y="-78578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</a:p>
        </p:txBody>
      </p:sp>
      <p:sp>
        <p:nvSpPr>
          <p:cNvPr id="136" name="Textfeld 135"/>
          <p:cNvSpPr txBox="1"/>
          <p:nvPr/>
        </p:nvSpPr>
        <p:spPr>
          <a:xfrm>
            <a:off x="1503650" y="-78578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</a:p>
        </p:txBody>
      </p:sp>
      <p:sp>
        <p:nvSpPr>
          <p:cNvPr id="137" name="Textfeld 136"/>
          <p:cNvSpPr txBox="1"/>
          <p:nvPr/>
        </p:nvSpPr>
        <p:spPr>
          <a:xfrm>
            <a:off x="-95136" y="701189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)</a:t>
            </a:r>
          </a:p>
        </p:txBody>
      </p:sp>
      <p:sp>
        <p:nvSpPr>
          <p:cNvPr id="138" name="Textfeld 137"/>
          <p:cNvSpPr txBox="1"/>
          <p:nvPr/>
        </p:nvSpPr>
        <p:spPr>
          <a:xfrm>
            <a:off x="1503650" y="701189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)</a:t>
            </a:r>
          </a:p>
        </p:txBody>
      </p:sp>
    </p:spTree>
    <p:extLst>
      <p:ext uri="{BB962C8B-B14F-4D97-AF65-F5344CB8AC3E}">
        <p14:creationId xmlns:p14="http://schemas.microsoft.com/office/powerpoint/2010/main" val="633461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AfZ4KIOWW5hcuSKUwi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</Words>
  <Application>Microsoft Office PowerPoint</Application>
  <PresentationFormat>Benutzerdefiniert</PresentationFormat>
  <Paragraphs>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4</cp:revision>
  <dcterms:created xsi:type="dcterms:W3CDTF">2020-02-07T12:21:17Z</dcterms:created>
  <dcterms:modified xsi:type="dcterms:W3CDTF">2020-02-29T11:53:21Z</dcterms:modified>
</cp:coreProperties>
</file>